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12" r:id="rId20"/>
    <p:sldId id="323"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7445E5-0F2A-4B75-8358-6A0D31303AAB}" v="1" dt="2025-02-14T11:03:39.3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14/02/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14/02/2025</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14/02/2025</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4.png"/><Relationship Id="rId7"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2.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5.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Phone Pla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646691"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anuary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22679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2 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orking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1585012626"/>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2.63 July 2024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a:t>
            </a:r>
            <a:r>
              <a:rPr lang="en-US" altLang="en-US" sz="24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 2024:</a:t>
            </a:r>
            <a:endPar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1,979!</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TotalTime>
  <Words>1360</Words>
  <Application>Microsoft Office PowerPoint</Application>
  <PresentationFormat>Widescreen</PresentationFormat>
  <Paragraphs>262</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47</cp:revision>
  <dcterms:created xsi:type="dcterms:W3CDTF">2021-10-01T18:33:04Z</dcterms:created>
  <dcterms:modified xsi:type="dcterms:W3CDTF">2025-02-14T11:0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